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56"/>
  </p:notesMasterIdLst>
  <p:sldIdLst>
    <p:sldId id="257" r:id="rId5"/>
    <p:sldId id="10400" r:id="rId6"/>
    <p:sldId id="957" r:id="rId7"/>
    <p:sldId id="958" r:id="rId8"/>
    <p:sldId id="10411" r:id="rId9"/>
    <p:sldId id="328" r:id="rId10"/>
    <p:sldId id="10470" r:id="rId11"/>
    <p:sldId id="371" r:id="rId12"/>
    <p:sldId id="261" r:id="rId13"/>
    <p:sldId id="962"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332" r:id="rId29"/>
    <p:sldId id="938" r:id="rId30"/>
    <p:sldId id="947" r:id="rId31"/>
    <p:sldId id="327" r:id="rId32"/>
    <p:sldId id="945" r:id="rId33"/>
    <p:sldId id="941" r:id="rId34"/>
    <p:sldId id="942" r:id="rId35"/>
    <p:sldId id="943" r:id="rId36"/>
    <p:sldId id="944" r:id="rId37"/>
    <p:sldId id="946" r:id="rId38"/>
    <p:sldId id="1005" r:id="rId39"/>
    <p:sldId id="609" r:id="rId40"/>
    <p:sldId id="966" r:id="rId41"/>
    <p:sldId id="967" r:id="rId42"/>
    <p:sldId id="971" r:id="rId43"/>
    <p:sldId id="972" r:id="rId44"/>
    <p:sldId id="973" r:id="rId45"/>
    <p:sldId id="974" r:id="rId46"/>
    <p:sldId id="975" r:id="rId47"/>
    <p:sldId id="980" r:id="rId48"/>
    <p:sldId id="968" r:id="rId49"/>
    <p:sldId id="976" r:id="rId50"/>
    <p:sldId id="977" r:id="rId51"/>
    <p:sldId id="1007" r:id="rId52"/>
    <p:sldId id="1003" r:id="rId53"/>
    <p:sldId id="611" r:id="rId54"/>
    <p:sldId id="948" r:id="rId55"/>
    <p:sldId id="612" r:id="rId56"/>
    <p:sldId id="613" r:id="rId57"/>
    <p:sldId id="614" r:id="rId58"/>
    <p:sldId id="616" r:id="rId59"/>
    <p:sldId id="949" r:id="rId60"/>
    <p:sldId id="950" r:id="rId61"/>
    <p:sldId id="951" r:id="rId62"/>
    <p:sldId id="952" r:id="rId63"/>
    <p:sldId id="955" r:id="rId64"/>
    <p:sldId id="953" r:id="rId65"/>
    <p:sldId id="1012" r:id="rId66"/>
    <p:sldId id="1016" r:id="rId67"/>
    <p:sldId id="1013" r:id="rId68"/>
    <p:sldId id="1014" r:id="rId69"/>
    <p:sldId id="1015" r:id="rId70"/>
    <p:sldId id="1018" r:id="rId71"/>
    <p:sldId id="1043" r:id="rId72"/>
    <p:sldId id="1019" r:id="rId73"/>
    <p:sldId id="1071" r:id="rId74"/>
    <p:sldId id="1036" r:id="rId75"/>
    <p:sldId id="1037" r:id="rId76"/>
    <p:sldId id="1038" r:id="rId77"/>
    <p:sldId id="1040" r:id="rId78"/>
    <p:sldId id="1020" r:id="rId79"/>
    <p:sldId id="1021" r:id="rId80"/>
    <p:sldId id="1022" r:id="rId81"/>
    <p:sldId id="1023" r:id="rId82"/>
    <p:sldId id="1024" r:id="rId83"/>
    <p:sldId id="1025" r:id="rId84"/>
    <p:sldId id="1026" r:id="rId85"/>
    <p:sldId id="1027" r:id="rId86"/>
    <p:sldId id="1030" r:id="rId87"/>
    <p:sldId id="1031" r:id="rId88"/>
    <p:sldId id="1044" r:id="rId89"/>
    <p:sldId id="1042" r:id="rId90"/>
    <p:sldId id="1039" r:id="rId91"/>
    <p:sldId id="1032" r:id="rId92"/>
    <p:sldId id="1033" r:id="rId93"/>
    <p:sldId id="1034" r:id="rId94"/>
    <p:sldId id="1045" r:id="rId95"/>
    <p:sldId id="1035" r:id="rId96"/>
    <p:sldId id="1046" r:id="rId97"/>
    <p:sldId id="1047" r:id="rId98"/>
    <p:sldId id="1028" r:id="rId99"/>
    <p:sldId id="1048" r:id="rId100"/>
    <p:sldId id="1049" r:id="rId101"/>
    <p:sldId id="1050" r:id="rId102"/>
    <p:sldId id="1051" r:id="rId103"/>
    <p:sldId id="1052" r:id="rId104"/>
    <p:sldId id="1029" r:id="rId105"/>
    <p:sldId id="1053" r:id="rId106"/>
    <p:sldId id="1054" r:id="rId107"/>
    <p:sldId id="1055" r:id="rId108"/>
    <p:sldId id="1056" r:id="rId109"/>
    <p:sldId id="1057" r:id="rId110"/>
    <p:sldId id="1072" r:id="rId111"/>
    <p:sldId id="1060" r:id="rId112"/>
    <p:sldId id="1062" r:id="rId113"/>
    <p:sldId id="1064" r:id="rId114"/>
    <p:sldId id="1061" r:id="rId115"/>
    <p:sldId id="1065" r:id="rId116"/>
    <p:sldId id="1066" r:id="rId117"/>
    <p:sldId id="1070" r:id="rId118"/>
    <p:sldId id="1067" r:id="rId119"/>
    <p:sldId id="1068" r:id="rId120"/>
    <p:sldId id="1069" r:id="rId121"/>
    <p:sldId id="1058" r:id="rId122"/>
    <p:sldId id="1073" r:id="rId123"/>
    <p:sldId id="1059" r:id="rId124"/>
    <p:sldId id="1074" r:id="rId125"/>
    <p:sldId id="1075" r:id="rId126"/>
    <p:sldId id="1078" r:id="rId127"/>
    <p:sldId id="1079" r:id="rId128"/>
    <p:sldId id="1080" r:id="rId129"/>
    <p:sldId id="1008" r:id="rId130"/>
    <p:sldId id="1081" r:id="rId131"/>
    <p:sldId id="1076" r:id="rId132"/>
    <p:sldId id="1077" r:id="rId133"/>
    <p:sldId id="1082" r:id="rId134"/>
    <p:sldId id="1083" r:id="rId135"/>
    <p:sldId id="1084" r:id="rId136"/>
    <p:sldId id="1085" r:id="rId137"/>
    <p:sldId id="1088" r:id="rId138"/>
    <p:sldId id="1089" r:id="rId139"/>
    <p:sldId id="1090" r:id="rId140"/>
    <p:sldId id="1091" r:id="rId141"/>
    <p:sldId id="1087" r:id="rId142"/>
    <p:sldId id="1086" r:id="rId143"/>
    <p:sldId id="1092" r:id="rId144"/>
    <p:sldId id="1098" r:id="rId145"/>
    <p:sldId id="1093" r:id="rId146"/>
    <p:sldId id="1094" r:id="rId147"/>
    <p:sldId id="1095" r:id="rId148"/>
    <p:sldId id="1096" r:id="rId149"/>
    <p:sldId id="1103" r:id="rId150"/>
    <p:sldId id="1118" r:id="rId151"/>
    <p:sldId id="1097" r:id="rId152"/>
    <p:sldId id="1099" r:id="rId153"/>
    <p:sldId id="1100" r:id="rId154"/>
    <p:sldId id="1104" r:id="rId155"/>
    <p:sldId id="1107" r:id="rId156"/>
    <p:sldId id="1106" r:id="rId157"/>
    <p:sldId id="1108" r:id="rId158"/>
    <p:sldId id="1109" r:id="rId159"/>
    <p:sldId id="1110" r:id="rId160"/>
    <p:sldId id="1111" r:id="rId161"/>
    <p:sldId id="1009" r:id="rId162"/>
    <p:sldId id="1101" r:id="rId163"/>
    <p:sldId id="1102" r:id="rId164"/>
    <p:sldId id="1119" r:id="rId165"/>
    <p:sldId id="665" r:id="rId166"/>
    <p:sldId id="1122" r:id="rId167"/>
    <p:sldId id="1120" r:id="rId168"/>
    <p:sldId id="1121" r:id="rId169"/>
    <p:sldId id="834" r:id="rId170"/>
    <p:sldId id="838" r:id="rId171"/>
    <p:sldId id="839" r:id="rId172"/>
    <p:sldId id="841" r:id="rId173"/>
    <p:sldId id="842" r:id="rId174"/>
    <p:sldId id="843" r:id="rId175"/>
    <p:sldId id="835" r:id="rId176"/>
    <p:sldId id="844" r:id="rId177"/>
    <p:sldId id="836" r:id="rId178"/>
    <p:sldId id="846" r:id="rId179"/>
    <p:sldId id="847" r:id="rId180"/>
    <p:sldId id="868" r:id="rId181"/>
    <p:sldId id="869" r:id="rId182"/>
    <p:sldId id="872" r:id="rId183"/>
    <p:sldId id="870" r:id="rId184"/>
    <p:sldId id="1010" r:id="rId185"/>
    <p:sldId id="1112" r:id="rId186"/>
    <p:sldId id="1114" r:id="rId187"/>
    <p:sldId id="1113" r:id="rId188"/>
    <p:sldId id="1125" r:id="rId189"/>
    <p:sldId id="1129" r:id="rId190"/>
    <p:sldId id="1126" r:id="rId191"/>
    <p:sldId id="1123" r:id="rId192"/>
    <p:sldId id="1124" r:id="rId193"/>
    <p:sldId id="1128" r:id="rId194"/>
    <p:sldId id="1131" r:id="rId195"/>
    <p:sldId id="1127" r:id="rId196"/>
    <p:sldId id="1130" r:id="rId197"/>
    <p:sldId id="1132" r:id="rId198"/>
    <p:sldId id="1133" r:id="rId199"/>
    <p:sldId id="1134" r:id="rId200"/>
    <p:sldId id="1135" r:id="rId201"/>
    <p:sldId id="1115" r:id="rId202"/>
    <p:sldId id="1116" r:id="rId203"/>
    <p:sldId id="1117" r:id="rId204"/>
    <p:sldId id="1105" r:id="rId205"/>
    <p:sldId id="1011" r:id="rId206"/>
    <p:sldId id="10403" r:id="rId207"/>
    <p:sldId id="10404" r:id="rId208"/>
    <p:sldId id="10405" r:id="rId209"/>
    <p:sldId id="10402" r:id="rId210"/>
    <p:sldId id="10407" r:id="rId211"/>
    <p:sldId id="10446" r:id="rId212"/>
    <p:sldId id="10440" r:id="rId213"/>
    <p:sldId id="10441" r:id="rId214"/>
    <p:sldId id="10451" r:id="rId215"/>
    <p:sldId id="10431" r:id="rId216"/>
    <p:sldId id="10452" r:id="rId217"/>
    <p:sldId id="10453" r:id="rId218"/>
    <p:sldId id="10454" r:id="rId219"/>
    <p:sldId id="10455" r:id="rId220"/>
    <p:sldId id="10448" r:id="rId221"/>
    <p:sldId id="10449" r:id="rId222"/>
    <p:sldId id="10450" r:id="rId223"/>
    <p:sldId id="10459" r:id="rId224"/>
    <p:sldId id="10447" r:id="rId225"/>
    <p:sldId id="10406" r:id="rId226"/>
    <p:sldId id="10425" r:id="rId227"/>
    <p:sldId id="10426" r:id="rId228"/>
    <p:sldId id="10409" r:id="rId229"/>
    <p:sldId id="10421" r:id="rId230"/>
    <p:sldId id="10417" r:id="rId231"/>
    <p:sldId id="10408" r:id="rId232"/>
    <p:sldId id="10427" r:id="rId233"/>
    <p:sldId id="10435" r:id="rId234"/>
    <p:sldId id="10437" r:id="rId235"/>
    <p:sldId id="10436" r:id="rId236"/>
    <p:sldId id="10438" r:id="rId237"/>
    <p:sldId id="10439" r:id="rId238"/>
    <p:sldId id="10442" r:id="rId239"/>
    <p:sldId id="10443" r:id="rId240"/>
    <p:sldId id="10444" r:id="rId241"/>
    <p:sldId id="10445" r:id="rId242"/>
    <p:sldId id="10428" r:id="rId243"/>
    <p:sldId id="10429" r:id="rId244"/>
    <p:sldId id="10430" r:id="rId245"/>
    <p:sldId id="10422" r:id="rId246"/>
    <p:sldId id="10423" r:id="rId247"/>
    <p:sldId id="936" r:id="rId248"/>
    <p:sldId id="10418" r:id="rId249"/>
    <p:sldId id="822" r:id="rId250"/>
    <p:sldId id="810" r:id="rId251"/>
    <p:sldId id="10463" r:id="rId252"/>
    <p:sldId id="10420" r:id="rId253"/>
    <p:sldId id="10464" r:id="rId254"/>
    <p:sldId id="296" r:id="rId2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10411"/>
            <p14:sldId id="328"/>
            <p14:sldId id="104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20"/>
            <p14:sldId id="10464"/>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111" autoAdjust="0"/>
    <p:restoredTop sz="87275" autoAdjust="0"/>
  </p:normalViewPr>
  <p:slideViewPr>
    <p:cSldViewPr snapToGrid="0">
      <p:cViewPr varScale="1">
        <p:scale>
          <a:sx n="77" d="100"/>
          <a:sy n="77" d="100"/>
        </p:scale>
        <p:origin x="408" y="84"/>
      </p:cViewPr>
      <p:guideLst/>
    </p:cSldViewPr>
  </p:slideViewPr>
  <p:notesTextViewPr>
    <p:cViewPr>
      <p:scale>
        <a:sx n="100" d="100"/>
        <a:sy n="10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58" Type="http://schemas.openxmlformats.org/officeDocument/2006/relationships/viewProps" Target="viewProps.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theme" Target="theme/theme1.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tableStyles" Target="tableStyles.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slideMaster" Target="slideMasters/slideMaster2.xml"/><Relationship Id="rId29" Type="http://schemas.openxmlformats.org/officeDocument/2006/relationships/slide" Target="slides/slide25.xml"/><Relationship Id="rId255" Type="http://schemas.openxmlformats.org/officeDocument/2006/relationships/slide" Target="slides/slide251.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notesMaster" Target="notesMasters/notesMaster1.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4.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6/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3: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3: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3: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14924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5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3:0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3:0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1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6/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33292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11052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6/3/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97701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537931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102377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7563196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9765455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016854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3076807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6421792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1478061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222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6/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6/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6/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6/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4.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6/3/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357333655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4.svg"/><Relationship Id="rId5" Type="http://schemas.openxmlformats.org/officeDocument/2006/relationships/image" Target="../media/image33.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0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1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167.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6.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9.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7.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09.sv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77.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5.png"/></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09.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8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0.gif"/><Relationship Id="rId4" Type="http://schemas.openxmlformats.org/officeDocument/2006/relationships/image" Target="../media/image39.png"/></Relationships>
</file>

<file path=ppt/slides/_rels/slide14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42.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09.sv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95.png"/><Relationship Id="rId7" Type="http://schemas.openxmlformats.org/officeDocument/2006/relationships/image" Target="../media/image109.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09.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5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9.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2.png"/></Relationships>
</file>

<file path=ppt/slides/_rels/slide16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9.png"/></Relationships>
</file>

<file path=ppt/slides/_rels/slide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62.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10.png"/><Relationship Id="rId7" Type="http://schemas.openxmlformats.org/officeDocument/2006/relationships/image" Target="../media/image212.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11.png"/></Relationships>
</file>

<file path=ppt/slides/_rels/slide163.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5.png"/><Relationship Id="rId10" Type="http://schemas.openxmlformats.org/officeDocument/2006/relationships/image" Target="../media/image216.png"/><Relationship Id="rId4" Type="http://schemas.openxmlformats.org/officeDocument/2006/relationships/hyperlink" Target="http://fleitasarts.com/" TargetMode="External"/><Relationship Id="rId9" Type="http://schemas.openxmlformats.org/officeDocument/2006/relationships/image" Target="../media/image215.png"/></Relationships>
</file>

<file path=ppt/slides/_rels/slide164.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6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219.png"/><Relationship Id="rId4" Type="http://schemas.openxmlformats.org/officeDocument/2006/relationships/image" Target="../media/image218.png"/><Relationship Id="rId9" Type="http://schemas.openxmlformats.org/officeDocument/2006/relationships/image" Target="../media/image5.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19.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0.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1.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3.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2.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3.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4.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5.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6.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7.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8.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9.png"/></Relationships>
</file>

<file path=ppt/slides/_rels/slide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30.png"/></Relationships>
</file>

<file path=ppt/slides/_rels/slide17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232.png"/><Relationship Id="rId4" Type="http://schemas.openxmlformats.org/officeDocument/2006/relationships/image" Target="../media/image231.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4.png"/></Relationships>
</file>

<file path=ppt/slides/_rels/slide1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33.png"/></Relationships>
</file>

<file path=ppt/slides/_rels/slide18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2.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41.svg"/><Relationship Id="rId5" Type="http://schemas.openxmlformats.org/officeDocument/2006/relationships/image" Target="../media/image240.png"/><Relationship Id="rId4" Type="http://schemas.openxmlformats.org/officeDocument/2006/relationships/image" Target="../media/image239.png"/></Relationships>
</file>

<file path=ppt/slides/_rels/slide188.xml.rels><?xml version="1.0" encoding="UTF-8" standalone="yes"?>
<Relationships xmlns="http://schemas.openxmlformats.org/package/2006/relationships"><Relationship Id="rId3" Type="http://schemas.openxmlformats.org/officeDocument/2006/relationships/image" Target="../media/image210.png"/><Relationship Id="rId7" Type="http://schemas.openxmlformats.org/officeDocument/2006/relationships/image" Target="../media/image243.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45.svg"/><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92.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9.sv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09.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24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5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8.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09.sv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109.sv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109.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9.svg"/><Relationship Id="rId4" Type="http://schemas.openxmlformats.org/officeDocument/2006/relationships/image" Target="../media/image108.png"/></Relationships>
</file>

<file path=ppt/slides/_rels/slide204.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109.sv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09.sv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6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26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9.png"/><Relationship Id="rId4" Type="http://schemas.openxmlformats.org/officeDocument/2006/relationships/image" Target="../media/image48.png"/></Relationships>
</file>

<file path=ppt/slides/_rels/slide21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26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27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7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7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76.png"/><Relationship Id="rId7" Type="http://schemas.openxmlformats.org/officeDocument/2006/relationships/image" Target="../media/image108.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7.png"/></Relationships>
</file>

<file path=ppt/slides/_rels/slide216.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78.png"/><Relationship Id="rId7" Type="http://schemas.openxmlformats.org/officeDocument/2006/relationships/image" Target="../media/image108.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9.png"/><Relationship Id="rId9" Type="http://schemas.openxmlformats.org/officeDocument/2006/relationships/image" Target="../media/image280.png"/></Relationships>
</file>

<file path=ppt/slides/_rels/slide217.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image" Target="../media/image281.png"/><Relationship Id="rId7" Type="http://schemas.openxmlformats.org/officeDocument/2006/relationships/image" Target="../media/image109.sv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83.png"/><Relationship Id="rId7" Type="http://schemas.openxmlformats.org/officeDocument/2006/relationships/image" Target="../media/image108.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9.png"/></Relationships>
</file>

<file path=ppt/slides/_rels/slide219.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28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221.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0.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40.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8" Type="http://schemas.openxmlformats.org/officeDocument/2006/relationships/image" Target="../media/image311.png"/><Relationship Id="rId3" Type="http://schemas.openxmlformats.org/officeDocument/2006/relationships/hyperlink" Target="http://fleitasarts.com/" TargetMode="External"/><Relationship Id="rId7" Type="http://schemas.openxmlformats.org/officeDocument/2006/relationships/image" Target="../media/image210.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310.png"/><Relationship Id="rId5" Type="http://schemas.openxmlformats.org/officeDocument/2006/relationships/image" Target="../media/image309.png"/><Relationship Id="rId4" Type="http://schemas.openxmlformats.org/officeDocument/2006/relationships/image" Target="../media/image5.png"/></Relationships>
</file>

<file path=ppt/slides/_rels/slide2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34.svg"/><Relationship Id="rId5" Type="http://schemas.openxmlformats.org/officeDocument/2006/relationships/image" Target="../media/image33.png"/><Relationship Id="rId4" Type="http://schemas.microsoft.com/office/2007/relationships/hdphoto" Target="../media/hdphoto4.wdp"/></Relationships>
</file>

<file path=ppt/slides/_rels/slide246.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34.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32.xml"/><Relationship Id="rId16" Type="http://schemas.openxmlformats.org/officeDocument/2006/relationships/hyperlink" Target="https://docs.microsoft.com/power-bi/service-cortana-intro" TargetMode="External"/><Relationship Id="rId1" Type="http://schemas.openxmlformats.org/officeDocument/2006/relationships/slideLayout" Target="../slideLayouts/slideLayout38.xml"/><Relationship Id="rId6" Type="http://schemas.openxmlformats.org/officeDocument/2006/relationships/image" Target="../media/image33.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7.xml.rels><?xml version="1.0" encoding="UTF-8" standalone="yes"?>
<Relationships xmlns="http://schemas.openxmlformats.org/package/2006/relationships"><Relationship Id="rId8" Type="http://schemas.openxmlformats.org/officeDocument/2006/relationships/image" Target="../media/image312.png"/><Relationship Id="rId3" Type="http://schemas.openxmlformats.org/officeDocument/2006/relationships/hyperlink" Target="http://fleitasarts.com/" TargetMode="External"/><Relationship Id="rId7" Type="http://schemas.openxmlformats.org/officeDocument/2006/relationships/image" Target="../media/image210.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310.png"/><Relationship Id="rId5" Type="http://schemas.openxmlformats.org/officeDocument/2006/relationships/image" Target="../media/image309.png"/><Relationship Id="rId4" Type="http://schemas.openxmlformats.org/officeDocument/2006/relationships/image" Target="../media/image5.png"/></Relationships>
</file>

<file path=ppt/slides/_rels/slide2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34.xml"/><Relationship Id="rId1" Type="http://schemas.openxmlformats.org/officeDocument/2006/relationships/slideLayout" Target="../slideLayouts/slideLayout47.xml"/><Relationship Id="rId6" Type="http://schemas.openxmlformats.org/officeDocument/2006/relationships/image" Target="../media/image313.png"/><Relationship Id="rId5" Type="http://schemas.openxmlformats.org/officeDocument/2006/relationships/hyperlink" Target="http://atlanticbb.com/" TargetMode="External"/><Relationship Id="rId4" Type="http://schemas.openxmlformats.org/officeDocument/2006/relationships/image" Target="../media/image5.png"/></Relationships>
</file>

<file path=ppt/slides/_rels/slide24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235.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21.png"/><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gif"/><Relationship Id="rId15" Type="http://schemas.openxmlformats.org/officeDocument/2006/relationships/image" Target="../media/image5.png"/><Relationship Id="rId10" Type="http://schemas.openxmlformats.org/officeDocument/2006/relationships/image" Target="../media/image64.jpe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hyperlink" Target="http://fleitasarts.com/" TargetMode="External"/></Relationships>
</file>

<file path=ppt/slides/_rels/slide25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png"/><Relationship Id="rId3" Type="http://schemas.openxmlformats.org/officeDocument/2006/relationships/image" Target="../media/image20.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6.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5.wdp"/><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hyperlink" Target="https://linkedin.com/in/hiramfleitas" TargetMode="External"/><Relationship Id="rId10" Type="http://schemas.openxmlformats.org/officeDocument/2006/relationships/image" Target="../media/image27.png"/><Relationship Id="rId4" Type="http://schemas.microsoft.com/office/2007/relationships/hdphoto" Target="../media/hdphoto4.wdp"/><Relationship Id="rId9" Type="http://schemas.openxmlformats.org/officeDocument/2006/relationships/image" Target="../media/image26.png"/><Relationship Id="rId14" Type="http://schemas.openxmlformats.org/officeDocument/2006/relationships/hyperlink" Target="http://fleitasarts.com/" TargetMode="External"/></Relationships>
</file>

<file path=ppt/slides/_rels/slide251.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9.gif"/><Relationship Id="rId5" Type="http://schemas.openxmlformats.org/officeDocument/2006/relationships/hyperlink" Target="https://go.microsoft.com/fwlink/?LinkId=2083007&amp;clcid=0x409" TargetMode="External"/><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2.jpeg"/><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3.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4.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5.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6.jpeg"/></Relationships>
</file>

<file path=ppt/slides/_rels/slide3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7.jpeg"/></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9.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5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pass.org/Community/Groups/VirtualGroups.aspx" TargetMode="External"/><Relationship Id="rId13" Type="http://schemas.openxmlformats.org/officeDocument/2006/relationships/hyperlink" Target="https://sqlpass.org/PASSChapters/VirtualChapters.aspx" TargetMode="External"/><Relationship Id="rId18" Type="http://schemas.openxmlformats.org/officeDocument/2006/relationships/image" Target="../media/image17.png"/><Relationship Id="rId3" Type="http://schemas.microsoft.com/office/2007/relationships/hdphoto" Target="../media/hdphoto3.wdp"/><Relationship Id="rId7" Type="http://schemas.openxmlformats.org/officeDocument/2006/relationships/hyperlink" Target="https://sqlpass.org/Events/24HoursofPASS.aspx" TargetMode="External"/><Relationship Id="rId12" Type="http://schemas.openxmlformats.org/officeDocument/2006/relationships/hyperlink" Target="http://sqlpass.org/Events/24HoursofPASS.aspx" TargetMode="External"/><Relationship Id="rId17" Type="http://schemas.openxmlformats.org/officeDocument/2006/relationships/image" Target="../media/image16.png"/><Relationship Id="rId2" Type="http://schemas.openxmlformats.org/officeDocument/2006/relationships/image" Target="../media/image11.png"/><Relationship Id="rId16" Type="http://schemas.openxmlformats.org/officeDocument/2006/relationships/image" Target="../media/image15.png"/><Relationship Id="rId20" Type="http://schemas.openxmlformats.org/officeDocument/2006/relationships/hyperlink" Target="https://www.pass.org/" TargetMode="External"/><Relationship Id="rId1" Type="http://schemas.openxmlformats.org/officeDocument/2006/relationships/slideLayout" Target="../slideLayouts/slideLayout54.xml"/><Relationship Id="rId6" Type="http://schemas.openxmlformats.org/officeDocument/2006/relationships/hyperlink" Target="https://sqlpass.org/PASSChapters.aspx" TargetMode="External"/><Relationship Id="rId11" Type="http://schemas.openxmlformats.org/officeDocument/2006/relationships/hyperlink" Target="https://pass.org/" TargetMode="External"/><Relationship Id="rId5" Type="http://schemas.openxmlformats.org/officeDocument/2006/relationships/hyperlink" Target="https://sqlsaturday.com/" TargetMode="External"/><Relationship Id="rId15" Type="http://schemas.openxmlformats.org/officeDocument/2006/relationships/image" Target="../media/image14.png"/><Relationship Id="rId10" Type="http://schemas.openxmlformats.org/officeDocument/2006/relationships/hyperlink" Target="https://pass.org/Community/GetInvolved/Volunteers.aspx" TargetMode="External"/><Relationship Id="rId19"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hyperlink" Target="https://pass.org/marathon/2018/analytics/About.aspx" TargetMode="External"/><Relationship Id="rId1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5.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9.svg"/><Relationship Id="rId4" Type="http://schemas.openxmlformats.org/officeDocument/2006/relationships/image" Target="../media/image108.png"/></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3.png"/></Relationships>
</file>

<file path=ppt/slides/_rels/slide6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6.png"/></Relationships>
</file>

<file path=ppt/slides/_rels/slide6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9.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7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122.png"/><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21.png"/><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09.sv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0.png"/><Relationship Id="rId3" Type="http://schemas.openxmlformats.org/officeDocument/2006/relationships/image" Target="../media/image22.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24.png"/><Relationship Id="rId12" Type="http://schemas.openxmlformats.org/officeDocument/2006/relationships/image" Target="../media/image28.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5.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1.png"/><Relationship Id="rId1" Type="http://schemas.openxmlformats.org/officeDocument/2006/relationships/slideLayout" Target="../slideLayouts/slideLayout38.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26.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25.png"/><Relationship Id="rId14" Type="http://schemas.openxmlformats.org/officeDocument/2006/relationships/image" Target="../media/image29.png"/><Relationship Id="rId22" Type="http://schemas.openxmlformats.org/officeDocument/2006/relationships/image" Target="../media/image32.png"/></Relationships>
</file>

<file path=ppt/slides/_rels/slide9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Run your business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in real time with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Ask questions </a:t>
            </a:r>
            <a:b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b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a:blip r:embed="rId3"/>
          <a:stretch>
            <a:fillRect/>
          </a:stretch>
        </p:blipFill>
        <p:spPr>
          <a:xfrm>
            <a:off x="1883545" y="-92670"/>
            <a:ext cx="8424909" cy="753849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ic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ting Bing Maps into PowerApps with GP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Scrolling Screen</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Display User Profile Phot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Modal (Pop-up) Scree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Image Circle Crop</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Sample canvas apps</a:t>
            </a:r>
            <a:r>
              <a:rPr lang="en-US" sz="2000" dirty="0">
                <a:latin typeface="Segoe UI Light" panose="020B0502040204020203" pitchFamily="34" charset="0"/>
                <a:cs typeface="Segoe UI Light" panose="020B0502040204020203" pitchFamily="34" charset="0"/>
              </a:rPr>
              <a:t> (Expense Report, Help Desk, Meeting Capture)</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Webinar List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e Study</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Resources</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pic>
        <p:nvPicPr>
          <p:cNvPr id="6148" name="Picture 4" descr="https://upload.wikimedia.org/wikipedia/en/thumb/9/95/Atlantic_Broadband_logo.svg/640px-Atlantic_Broadband_logo.svg.png">
            <a:hlinkClick r:id="rId5"/>
            <a:extLst>
              <a:ext uri="{FF2B5EF4-FFF2-40B4-BE49-F238E27FC236}">
                <a16:creationId xmlns:a16="http://schemas.microsoft.com/office/drawing/2014/main" id="{BC41D408-D42A-45B9-A6A0-52153E9775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0" y="2086513"/>
            <a:ext cx="6096000" cy="2238375"/>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a:extLst>
              <a:ext uri="{FF2B5EF4-FFF2-40B4-BE49-F238E27FC236}">
                <a16:creationId xmlns:a16="http://schemas.microsoft.com/office/drawing/2014/main" id="{E7A23C62-4CFD-4C7C-9328-13AC46C6B4E5}"/>
              </a:ext>
            </a:extLst>
          </p:cNvPr>
          <p:cNvGrpSpPr/>
          <p:nvPr/>
        </p:nvGrpSpPr>
        <p:grpSpPr>
          <a:xfrm>
            <a:off x="2668588" y="4953868"/>
            <a:ext cx="6854825" cy="474622"/>
            <a:chOff x="2709600" y="5052799"/>
            <a:chExt cx="6854825" cy="474622"/>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188867"/>
              <a:ext cx="648087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800" dirty="0">
                  <a:solidFill>
                    <a:srgbClr val="666767"/>
                  </a:solidFill>
                  <a:latin typeface="Arial" panose="020B0604020202020204" pitchFamily="34" charset="0"/>
                  <a:ea typeface="Franklin Gothic Book" panose="020B0503020102020204" pitchFamily="34" charset="0"/>
                  <a:cs typeface="Franklin Gothic Book" panose="020B0503020102020204" pitchFamily="34" charset="0"/>
                </a:rPr>
                <a:t>1681 Kennedy Causeway </a:t>
              </a:r>
              <a:r>
                <a:rPr lang="en-US" altLang="en-US" sz="800" dirty="0">
                  <a:solidFill>
                    <a:srgbClr val="666767"/>
                  </a:solidFill>
                  <a:latin typeface="Arial" panose="020B0604020202020204" pitchFamily="34" charset="0"/>
                </a:rPr>
                <a:t>//  Ph. 305.224.3226  //  atlanticbb.com</a:t>
              </a:r>
              <a:endParaRPr kumimoji="0" lang="en-US" altLang="en-US" sz="800" b="0" i="0" u="none" strike="noStrike" cap="none" normalizeH="0" baseline="0" dirty="0">
                <a:ln>
                  <a:noFill/>
                </a:ln>
                <a:solidFill>
                  <a:srgbClr val="666767"/>
                </a:solidFill>
                <a:effectLst/>
                <a:latin typeface="Arial" panose="020B0604020202020204" pitchFamily="34" charset="0"/>
                <a:ea typeface="Franklin Gothic Book" panose="020B0503020102020204" pitchFamily="34" charset="0"/>
                <a:cs typeface="Franklin Gothic Book" panose="020B05030201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2593284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84B06013-F5F7-4472-BB85-78CABB153135}"/>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game251</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0109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Owner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C15EA723-FC28-4915-803F-342E6A4C9B96}"/>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Effect>
                      <a14:brightnessContrast bright="-40000" contrast="-20000"/>
                    </a14:imgEffect>
                  </a14:imgLayer>
                </a14:imgProps>
              </a:ext>
            </a:extLst>
          </a:blip>
          <a:srcRect l="-1" r="51045"/>
          <a:stretch/>
        </p:blipFill>
        <p:spPr>
          <a:xfrm>
            <a:off x="-25149" y="-24681"/>
            <a:ext cx="5992562" cy="6880162"/>
          </a:xfrm>
          <a:prstGeom prst="rect">
            <a:avLst/>
          </a:prstGeom>
        </p:spPr>
      </p:pic>
      <p:pic>
        <p:nvPicPr>
          <p:cNvPr id="43" name="Picture 42" descr="A close up of a logo&#10;&#10;Description generated with very high confidence">
            <a:extLst>
              <a:ext uri="{FF2B5EF4-FFF2-40B4-BE49-F238E27FC236}">
                <a16:creationId xmlns:a16="http://schemas.microsoft.com/office/drawing/2014/main" id="{FFBBE557-19F7-406B-A318-83A759BBC8DE}"/>
              </a:ext>
            </a:extLst>
          </p:cNvPr>
          <p:cNvPicPr>
            <a:picLocks noChangeAspect="1"/>
          </p:cNvPicPr>
          <p:nvPr/>
        </p:nvPicPr>
        <p:blipFill rotWithShape="1">
          <a:blip r:embed="rId4">
            <a:extLst>
              <a:ext uri="{28A0092B-C50C-407E-A947-70E740481C1C}">
                <a14:useLocalDpi xmlns:a14="http://schemas.microsoft.com/office/drawing/2010/main" val="0"/>
              </a:ext>
            </a:extLst>
          </a:blip>
          <a:srcRect b="30720"/>
          <a:stretch/>
        </p:blipFill>
        <p:spPr>
          <a:xfrm>
            <a:off x="3324762" y="-24681"/>
            <a:ext cx="2660070" cy="6882681"/>
          </a:xfrm>
          <a:prstGeom prst="rect">
            <a:avLst/>
          </a:prstGeom>
        </p:spPr>
      </p:pic>
      <p:sp>
        <p:nvSpPr>
          <p:cNvPr id="2" name="Rectangle 1">
            <a:hlinkClick r:id="rId5"/>
            <a:extLst>
              <a:ext uri="{FF2B5EF4-FFF2-40B4-BE49-F238E27FC236}">
                <a16:creationId xmlns:a16="http://schemas.microsoft.com/office/drawing/2014/main" id="{BCEC4C96-3B45-4B20-9112-38CAC30AA5B2}"/>
              </a:ext>
            </a:extLst>
          </p:cNvPr>
          <p:cNvSpPr/>
          <p:nvPr/>
        </p:nvSpPr>
        <p:spPr>
          <a:xfrm>
            <a:off x="98221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hlinkClick r:id="rId6"/>
            <a:extLst>
              <a:ext uri="{FF2B5EF4-FFF2-40B4-BE49-F238E27FC236}">
                <a16:creationId xmlns:a16="http://schemas.microsoft.com/office/drawing/2014/main" id="{6B9EBF26-F428-4CD2-8918-F68F9D8CB207}"/>
              </a:ext>
            </a:extLst>
          </p:cNvPr>
          <p:cNvSpPr/>
          <p:nvPr/>
        </p:nvSpPr>
        <p:spPr>
          <a:xfrm>
            <a:off x="76758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hlinkClick r:id="rId7"/>
            <a:extLst>
              <a:ext uri="{FF2B5EF4-FFF2-40B4-BE49-F238E27FC236}">
                <a16:creationId xmlns:a16="http://schemas.microsoft.com/office/drawing/2014/main" id="{73E523CC-7E3F-4BC9-9EA0-6C8C3951DEF6}"/>
              </a:ext>
            </a:extLst>
          </p:cNvPr>
          <p:cNvSpPr/>
          <p:nvPr/>
        </p:nvSpPr>
        <p:spPr>
          <a:xfrm>
            <a:off x="55295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hlinkClick r:id="rId8"/>
            <a:extLst>
              <a:ext uri="{FF2B5EF4-FFF2-40B4-BE49-F238E27FC236}">
                <a16:creationId xmlns:a16="http://schemas.microsoft.com/office/drawing/2014/main" id="{448A8854-9FF1-4024-9DB8-A5C864E45421}"/>
              </a:ext>
            </a:extLst>
          </p:cNvPr>
          <p:cNvSpPr/>
          <p:nvPr/>
        </p:nvSpPr>
        <p:spPr>
          <a:xfrm>
            <a:off x="55295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hlinkClick r:id="rId9"/>
            <a:extLst>
              <a:ext uri="{FF2B5EF4-FFF2-40B4-BE49-F238E27FC236}">
                <a16:creationId xmlns:a16="http://schemas.microsoft.com/office/drawing/2014/main" id="{1790AD32-7EB9-4828-9FEC-D6ACC3EC7B56}"/>
              </a:ext>
            </a:extLst>
          </p:cNvPr>
          <p:cNvSpPr/>
          <p:nvPr/>
        </p:nvSpPr>
        <p:spPr>
          <a:xfrm>
            <a:off x="76758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hlinkClick r:id="rId10"/>
            <a:extLst>
              <a:ext uri="{FF2B5EF4-FFF2-40B4-BE49-F238E27FC236}">
                <a16:creationId xmlns:a16="http://schemas.microsoft.com/office/drawing/2014/main" id="{9B48B629-6953-47EC-A163-297EE7728573}"/>
              </a:ext>
            </a:extLst>
          </p:cNvPr>
          <p:cNvSpPr/>
          <p:nvPr/>
        </p:nvSpPr>
        <p:spPr>
          <a:xfrm>
            <a:off x="98221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hlinkClick r:id="rId11"/>
            <a:extLst>
              <a:ext uri="{FF2B5EF4-FFF2-40B4-BE49-F238E27FC236}">
                <a16:creationId xmlns:a16="http://schemas.microsoft.com/office/drawing/2014/main" id="{701BF384-D110-4A4A-8942-68D6B23A100B}"/>
              </a:ext>
            </a:extLst>
          </p:cNvPr>
          <p:cNvSpPr/>
          <p:nvPr/>
        </p:nvSpPr>
        <p:spPr>
          <a:xfrm>
            <a:off x="546100" y="4051300"/>
            <a:ext cx="21971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hlinkClick r:id="rId12"/>
            <a:extLst>
              <a:ext uri="{FF2B5EF4-FFF2-40B4-BE49-F238E27FC236}">
                <a16:creationId xmlns:a16="http://schemas.microsoft.com/office/drawing/2014/main" id="{D486EA98-1549-407C-821F-B89F82977B15}"/>
              </a:ext>
            </a:extLst>
          </p:cNvPr>
          <p:cNvSpPr/>
          <p:nvPr/>
        </p:nvSpPr>
        <p:spPr>
          <a:xfrm>
            <a:off x="5477992" y="2618058"/>
            <a:ext cx="1575264"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Free online webinar events </a:t>
            </a:r>
          </a:p>
        </p:txBody>
      </p:sp>
      <p:sp>
        <p:nvSpPr>
          <p:cNvPr id="28" name="Rectangle 27">
            <a:hlinkClick r:id="rId5"/>
            <a:extLst>
              <a:ext uri="{FF2B5EF4-FFF2-40B4-BE49-F238E27FC236}">
                <a16:creationId xmlns:a16="http://schemas.microsoft.com/office/drawing/2014/main" id="{939777BE-540E-45DE-9E64-C0E40D1B7C3E}"/>
              </a:ext>
            </a:extLst>
          </p:cNvPr>
          <p:cNvSpPr/>
          <p:nvPr/>
        </p:nvSpPr>
        <p:spPr>
          <a:xfrm>
            <a:off x="9630980" y="2618058"/>
            <a:ext cx="1713720"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Free 1-day local training events</a:t>
            </a:r>
          </a:p>
        </p:txBody>
      </p:sp>
      <p:sp>
        <p:nvSpPr>
          <p:cNvPr id="29" name="Rectangle 28">
            <a:hlinkClick r:id="rId6"/>
            <a:extLst>
              <a:ext uri="{FF2B5EF4-FFF2-40B4-BE49-F238E27FC236}">
                <a16:creationId xmlns:a16="http://schemas.microsoft.com/office/drawing/2014/main" id="{F21E2878-37A5-4488-AD2B-39D4E7A7D3EF}"/>
              </a:ext>
            </a:extLst>
          </p:cNvPr>
          <p:cNvSpPr/>
          <p:nvPr/>
        </p:nvSpPr>
        <p:spPr>
          <a:xfrm>
            <a:off x="7532384" y="2618058"/>
            <a:ext cx="1712256"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Local user groups around the world</a:t>
            </a:r>
          </a:p>
        </p:txBody>
      </p:sp>
      <p:sp>
        <p:nvSpPr>
          <p:cNvPr id="30" name="Rectangle 29">
            <a:hlinkClick r:id="rId13"/>
            <a:extLst>
              <a:ext uri="{FF2B5EF4-FFF2-40B4-BE49-F238E27FC236}">
                <a16:creationId xmlns:a16="http://schemas.microsoft.com/office/drawing/2014/main" id="{37B1EBC2-D7F5-48BD-92B3-C6650B7ED32D}"/>
              </a:ext>
            </a:extLst>
          </p:cNvPr>
          <p:cNvSpPr/>
          <p:nvPr/>
        </p:nvSpPr>
        <p:spPr>
          <a:xfrm>
            <a:off x="5368609" y="5443025"/>
            <a:ext cx="1718875"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Online special interest user groups </a:t>
            </a:r>
          </a:p>
        </p:txBody>
      </p:sp>
      <p:sp>
        <p:nvSpPr>
          <p:cNvPr id="31" name="Rectangle 30">
            <a:hlinkClick r:id="rId9"/>
            <a:extLst>
              <a:ext uri="{FF2B5EF4-FFF2-40B4-BE49-F238E27FC236}">
                <a16:creationId xmlns:a16="http://schemas.microsoft.com/office/drawing/2014/main" id="{FF20609A-EC33-4E94-B583-25071CB2CDDC}"/>
              </a:ext>
            </a:extLst>
          </p:cNvPr>
          <p:cNvSpPr/>
          <p:nvPr/>
        </p:nvSpPr>
        <p:spPr>
          <a:xfrm>
            <a:off x="7573112" y="5443025"/>
            <a:ext cx="1568027"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Business analytics training </a:t>
            </a:r>
          </a:p>
        </p:txBody>
      </p:sp>
      <p:pic>
        <p:nvPicPr>
          <p:cNvPr id="32" name="Picture 31">
            <a:hlinkClick r:id="rId10"/>
            <a:extLst>
              <a:ext uri="{FF2B5EF4-FFF2-40B4-BE49-F238E27FC236}">
                <a16:creationId xmlns:a16="http://schemas.microsoft.com/office/drawing/2014/main" id="{A7D861DA-C943-4285-B9F5-6B711EB6873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3375" b="-10982"/>
          <a:stretch/>
        </p:blipFill>
        <p:spPr>
          <a:xfrm>
            <a:off x="9910150" y="4011046"/>
            <a:ext cx="1172772" cy="1363432"/>
          </a:xfrm>
          <a:prstGeom prst="rect">
            <a:avLst/>
          </a:prstGeom>
        </p:spPr>
      </p:pic>
      <p:sp>
        <p:nvSpPr>
          <p:cNvPr id="33" name="Rectangle 32">
            <a:hlinkClick r:id="rId10"/>
            <a:extLst>
              <a:ext uri="{FF2B5EF4-FFF2-40B4-BE49-F238E27FC236}">
                <a16:creationId xmlns:a16="http://schemas.microsoft.com/office/drawing/2014/main" id="{56D50DA9-D28D-4CDB-BC59-5131EF73113E}"/>
              </a:ext>
            </a:extLst>
          </p:cNvPr>
          <p:cNvSpPr/>
          <p:nvPr/>
        </p:nvSpPr>
        <p:spPr>
          <a:xfrm>
            <a:off x="9698629" y="5443025"/>
            <a:ext cx="1568027"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Get involved</a:t>
            </a:r>
          </a:p>
        </p:txBody>
      </p:sp>
      <p:pic>
        <p:nvPicPr>
          <p:cNvPr id="34" name="Picture 33">
            <a:hlinkClick r:id="rId12"/>
            <a:extLst>
              <a:ext uri="{FF2B5EF4-FFF2-40B4-BE49-F238E27FC236}">
                <a16:creationId xmlns:a16="http://schemas.microsoft.com/office/drawing/2014/main" id="{27827799-3970-4BB5-B560-717AD59FE723}"/>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l="6942" t="8177" r="4042" b="8264"/>
          <a:stretch/>
        </p:blipFill>
        <p:spPr>
          <a:xfrm>
            <a:off x="5590584" y="1257300"/>
            <a:ext cx="1343616" cy="1261244"/>
          </a:xfrm>
          <a:prstGeom prst="rect">
            <a:avLst/>
          </a:prstGeom>
        </p:spPr>
      </p:pic>
      <p:pic>
        <p:nvPicPr>
          <p:cNvPr id="35" name="Picture 34">
            <a:hlinkClick r:id="rId6"/>
            <a:extLst>
              <a:ext uri="{FF2B5EF4-FFF2-40B4-BE49-F238E27FC236}">
                <a16:creationId xmlns:a16="http://schemas.microsoft.com/office/drawing/2014/main" id="{CB85F959-2FCC-4072-ADA9-E23E9504F352}"/>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l="22020" t="13627" r="24245" b="13173"/>
          <a:stretch/>
        </p:blipFill>
        <p:spPr>
          <a:xfrm>
            <a:off x="7912744" y="1257296"/>
            <a:ext cx="925864" cy="1261245"/>
          </a:xfrm>
          <a:prstGeom prst="rect">
            <a:avLst/>
          </a:prstGeom>
        </p:spPr>
      </p:pic>
      <p:pic>
        <p:nvPicPr>
          <p:cNvPr id="36" name="Picture 35">
            <a:hlinkClick r:id="rId5"/>
            <a:extLst>
              <a:ext uri="{FF2B5EF4-FFF2-40B4-BE49-F238E27FC236}">
                <a16:creationId xmlns:a16="http://schemas.microsoft.com/office/drawing/2014/main" id="{D963A13B-ADFC-40C1-A984-C4617A69F90D}"/>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8176" t="12047" r="8818" b="13419"/>
          <a:stretch/>
        </p:blipFill>
        <p:spPr>
          <a:xfrm>
            <a:off x="9817152" y="1257296"/>
            <a:ext cx="1404620" cy="1261245"/>
          </a:xfrm>
          <a:prstGeom prst="rect">
            <a:avLst/>
          </a:prstGeom>
        </p:spPr>
      </p:pic>
      <p:pic>
        <p:nvPicPr>
          <p:cNvPr id="37" name="Picture 36">
            <a:hlinkClick r:id="rId13"/>
            <a:extLst>
              <a:ext uri="{FF2B5EF4-FFF2-40B4-BE49-F238E27FC236}">
                <a16:creationId xmlns:a16="http://schemas.microsoft.com/office/drawing/2014/main" id="{28410633-AD5A-42D4-BCF8-2355CCB0E493}"/>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21518" t="11108" r="22299" b="11307"/>
          <a:stretch/>
        </p:blipFill>
        <p:spPr>
          <a:xfrm>
            <a:off x="5737736" y="4011046"/>
            <a:ext cx="987341" cy="1363432"/>
          </a:xfrm>
          <a:prstGeom prst="rect">
            <a:avLst/>
          </a:prstGeom>
        </p:spPr>
      </p:pic>
      <p:pic>
        <p:nvPicPr>
          <p:cNvPr id="38" name="Picture 37">
            <a:hlinkClick r:id="rId9"/>
            <a:extLst>
              <a:ext uri="{FF2B5EF4-FFF2-40B4-BE49-F238E27FC236}">
                <a16:creationId xmlns:a16="http://schemas.microsoft.com/office/drawing/2014/main" id="{A286C412-9576-45C7-B8E9-123F0DF6D4A4}"/>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8467" t="10355" r="7094" b="12042"/>
          <a:stretch/>
        </p:blipFill>
        <p:spPr>
          <a:xfrm>
            <a:off x="7674445" y="4051300"/>
            <a:ext cx="1406055" cy="1292208"/>
          </a:xfrm>
          <a:prstGeom prst="rect">
            <a:avLst/>
          </a:prstGeom>
        </p:spPr>
      </p:pic>
      <p:cxnSp>
        <p:nvCxnSpPr>
          <p:cNvPr id="39" name="Straight Connector 38">
            <a:extLst>
              <a:ext uri="{FF2B5EF4-FFF2-40B4-BE49-F238E27FC236}">
                <a16:creationId xmlns:a16="http://schemas.microsoft.com/office/drawing/2014/main" id="{C0455947-805A-4301-BDAF-7756017D7FC8}"/>
              </a:ext>
            </a:extLst>
          </p:cNvPr>
          <p:cNvCxnSpPr>
            <a:cxnSpLocks/>
          </p:cNvCxnSpPr>
          <p:nvPr/>
        </p:nvCxnSpPr>
        <p:spPr>
          <a:xfrm flipH="1">
            <a:off x="5580567" y="3589305"/>
            <a:ext cx="5910620" cy="0"/>
          </a:xfrm>
          <a:prstGeom prst="line">
            <a:avLst/>
          </a:prstGeom>
          <a:noFill/>
          <a:ln w="6350" cap="flat" cmpd="sng" algn="ctr">
            <a:solidFill>
              <a:srgbClr val="FFFFFF">
                <a:lumMod val="85000"/>
              </a:srgbClr>
            </a:solidFill>
            <a:prstDash val="solid"/>
          </a:ln>
          <a:effectLst/>
        </p:spPr>
      </p:cxnSp>
      <p:sp>
        <p:nvSpPr>
          <p:cNvPr id="40" name="Title 3">
            <a:extLst>
              <a:ext uri="{FF2B5EF4-FFF2-40B4-BE49-F238E27FC236}">
                <a16:creationId xmlns:a16="http://schemas.microsoft.com/office/drawing/2014/main" id="{D705C7D9-7753-46F1-B24C-FF08E39FEF0E}"/>
              </a:ext>
            </a:extLst>
          </p:cNvPr>
          <p:cNvSpPr txBox="1">
            <a:spLocks/>
          </p:cNvSpPr>
          <p:nvPr/>
        </p:nvSpPr>
        <p:spPr>
          <a:xfrm>
            <a:off x="430335" y="558360"/>
            <a:ext cx="3503429" cy="3462641"/>
          </a:xfrm>
          <a:prstGeom prst="rect">
            <a:avLst/>
          </a:prstGeom>
        </p:spPr>
        <p:txBody>
          <a:bodyPr vert="horz" lIns="121920" tIns="60960" rIns="121920" bIns="6096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Explore everything PASS has to offer </a:t>
            </a:r>
          </a:p>
        </p:txBody>
      </p:sp>
      <p:sp>
        <p:nvSpPr>
          <p:cNvPr id="41" name="Rectangle 40">
            <a:extLst>
              <a:ext uri="{FF2B5EF4-FFF2-40B4-BE49-F238E27FC236}">
                <a16:creationId xmlns:a16="http://schemas.microsoft.com/office/drawing/2014/main" id="{090F5D8C-4C2B-42DD-808E-6668EFC18FF6}"/>
              </a:ext>
            </a:extLst>
          </p:cNvPr>
          <p:cNvSpPr/>
          <p:nvPr/>
        </p:nvSpPr>
        <p:spPr>
          <a:xfrm>
            <a:off x="470986" y="3956173"/>
            <a:ext cx="3254621" cy="1346852"/>
          </a:xfrm>
          <a:prstGeom prst="rect">
            <a:avLst/>
          </a:prstGeom>
          <a:noFill/>
          <a:ln w="25400" cap="flat" cmpd="sng" algn="ctr">
            <a:noFill/>
            <a:prstDash val="solid"/>
          </a:ln>
          <a:effectLst/>
        </p:spPr>
        <p:txBody>
          <a:bodyPr rIns="121920" rtlCol="0" anchor="t"/>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Free Online Resources </a:t>
            </a: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Newsletters</a:t>
            </a: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PASS.org</a:t>
            </a:r>
          </a:p>
        </p:txBody>
      </p:sp>
      <p:sp>
        <p:nvSpPr>
          <p:cNvPr id="44" name="Rectangle 43">
            <a:hlinkClick r:id="rId20"/>
            <a:extLst>
              <a:ext uri="{FF2B5EF4-FFF2-40B4-BE49-F238E27FC236}">
                <a16:creationId xmlns:a16="http://schemas.microsoft.com/office/drawing/2014/main" id="{F371711E-4370-4254-A8E0-16D1B18FF20F}"/>
              </a:ext>
            </a:extLst>
          </p:cNvPr>
          <p:cNvSpPr/>
          <p:nvPr/>
        </p:nvSpPr>
        <p:spPr>
          <a:xfrm>
            <a:off x="546099" y="4051300"/>
            <a:ext cx="21971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501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7CC76E-656C-4420-9FD6-AA80CE53E7B0}"/>
              </a:ext>
            </a:extLst>
          </p:cNvPr>
          <p:cNvPicPr>
            <a:picLocks noChangeAspect="1"/>
          </p:cNvPicPr>
          <p:nvPr/>
        </p:nvPicPr>
        <p:blipFill>
          <a:blip r:embed="rId2"/>
          <a:stretch>
            <a:fillRect/>
          </a:stretch>
        </p:blipFill>
        <p:spPr>
          <a:xfrm>
            <a:off x="0" y="580"/>
            <a:ext cx="12192000" cy="685684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453775" y="1562844"/>
            <a:ext cx="1366250"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076676" y="1562844"/>
            <a:ext cx="535192"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26769" y="1562844"/>
            <a:ext cx="457726"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498807" y="1562844"/>
            <a:ext cx="635794"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10348913" y="1562844"/>
            <a:ext cx="708343"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10266681" y="1783556"/>
            <a:ext cx="790575"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1600200" y="521345"/>
            <a:ext cx="175323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950263" y="1480826"/>
            <a:ext cx="1815797" cy="405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630532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game251</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6</TotalTime>
  <Words>10858</Words>
  <Application>Microsoft Office PowerPoint</Application>
  <PresentationFormat>Widescreen</PresentationFormat>
  <Paragraphs>1267</Paragraphs>
  <Slides>251</Slides>
  <Notes>237</Notes>
  <HiddenSlides>7</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51</vt:i4>
      </vt:variant>
    </vt:vector>
  </HeadingPairs>
  <TitlesOfParts>
    <vt:vector size="270"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Dev]_HiramFleitas_PowerPlatformGameChanger</dc:title>
  <dc:creator>Hiram Fleitas</dc:creator>
  <cp:keywords>PowerApps, Microsoft Flow, Power BI, Cortana, SQL Server</cp:keywords>
  <cp:lastModifiedBy>Hiram Fleitas</cp:lastModifiedBy>
  <cp:revision>102</cp:revision>
  <dcterms:created xsi:type="dcterms:W3CDTF">2019-05-23T20:01:45Z</dcterms:created>
  <dcterms:modified xsi:type="dcterms:W3CDTF">2019-06-03T19:01:37Z</dcterms:modified>
  <cp:category>Dev</cp:category>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